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257" r:id="rId5"/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E4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E8F72B-5DEE-4763-A736-5DD866DC28DA}" v="54" dt="2021-01-03T16:46:48.0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86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88" y="4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736FBD-64AF-42B1-B4BB-B2AED4ABA7DC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1937D9-D0C9-46C9-A351-5699E1D23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13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3BDF0-9A9B-47E6-A481-577750681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621CE1-C794-4CC3-9222-ACC91E95F2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C595C9-748A-4BCD-B281-B5E69B6EF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9AFF7-4F00-4B48-89F0-5B8424522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C4DF8E-96DB-4F6E-8307-075AA38B1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068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465B4B-341F-4FE3-A149-2BE1D477D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D587E1-DB95-425A-961C-8D189A9148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225C32-8FF9-42D3-853C-DE19FB536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95CE08-A2E8-4D1A-8CC4-AA6447E55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C55F6-4840-47D2-BB0F-B7991803DF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515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800AA4-2301-4B96-A6B0-6EF31255C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298D282-0EAC-4051-A9E3-D0F76E1B56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A6485A-5B6F-42B9-8102-E3D519AC6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869A3A-E033-4A85-A4CB-4F12ECED7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E3843-35EA-43A5-93F1-8F62F69F8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143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E423F-AD39-4077-98AD-91AAF4D27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F9A7AE-C1E8-4A88-8CED-8A3311DEA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4AD84D-EA41-4196-9058-B46928E79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E02E93-0644-401E-8CEC-30D1F27D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89D5C8-C38F-4BEA-846D-FCF8C1091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268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4688F-4B1C-4CDB-BDE0-BB8F7F5EA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901567-3B02-47A9-BE63-B3D411810A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B696E3-4ECA-4368-AE41-473567387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E5D56-41CC-4C1C-AC5E-6C017F4A7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056FDE-BD6B-456F-887B-E66FE04DA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85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E8387-71E7-4A57-8E33-A548EB686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F1218A-2D5E-4D11-871A-1610D9C1DC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EF30EA-4BE9-4549-9A9D-DF9C9EDA53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3E0013-B52A-4A44-94E4-FA2FA8AEF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7E3D21-6C71-4CD9-8BA9-10FEA6992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A1F325-4204-4004-8381-FA5E27307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995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9AAC6-63AB-4D59-9048-5465E501F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42D00-50FB-4A05-9512-758BAABB34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F7365-0DED-4597-8471-251AB08644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1330D-733A-44CF-A9B2-681DA60B35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842FEB-03D4-4C48-BE53-6C1238BAB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CA8CE2E-95A5-4F35-9F81-8B87DCA55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C3A4CD-ED33-4E98-9168-B847A2A02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6473B6-5555-492D-90DD-87BC5FBE9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255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08056-33EE-4C57-9298-466DE2CA8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FF001F-DA01-4FD7-99E9-FBD67EA85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FC66A-AE3E-41BC-BD8D-5B6FE338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96FF3B-E109-4713-99F6-6A8AA6509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204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D780C4-BE7E-4EB7-9537-A509E7B26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B51933-598A-45ED-B898-B3E817811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1C7CD-AB9D-4E17-B3C9-0CCE9CA6D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7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57BF2-E8B2-4526-B625-DD9C4A6CD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5D3ED7-3607-41CA-8811-D39061B46E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74677A-38DB-4A0A-8F7C-854AD468B0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F0F18C-7FC6-455B-8FC9-DE4F75B14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2832B6-74D3-4BAA-8E6F-2B1DC1DD9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977C65-E1FE-4EA6-B40A-CB901A6F8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969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7AB77-D506-4761-AF3C-2B6035E4D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473C20-4240-4E8F-ACCE-73980FA64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0DBEDF-E643-49BD-92D8-9E09DEF21B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7FE9A4-52DA-4293-AECC-4D2511E23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B67676-A513-4C90-BAFA-118F68DDC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2EB2D4-5492-4183-B471-95DA0E946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585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0E6F1A-030B-409D-94D2-5106D5536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1079E2-18CD-4CF3-B11B-139ECDC042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B1837E-4996-460E-AB8C-6B0CA11083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E6E1CB-3DBF-4F98-A23D-DD7895C88AB4}" type="datetimeFigureOut">
              <a:rPr lang="en-US" smtClean="0"/>
              <a:t>1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63074D-DE01-4D3C-803F-DBCDE2D2DF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9D4C7-7C50-4D95-B2B5-8A001CBE30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E36DE3-C589-4AAD-AA6E-443A368B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431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AAF82B-1FE1-4A86-8A82-0FD7ADF97E60}"/>
              </a:ext>
            </a:extLst>
          </p:cNvPr>
          <p:cNvSpPr/>
          <p:nvPr/>
        </p:nvSpPr>
        <p:spPr>
          <a:xfrm>
            <a:off x="597408" y="707136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42 Component pieces provided by suppli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EBF136-24E7-4DDD-955A-BB874F895DCC}"/>
              </a:ext>
            </a:extLst>
          </p:cNvPr>
          <p:cNvSpPr/>
          <p:nvPr/>
        </p:nvSpPr>
        <p:spPr>
          <a:xfrm>
            <a:off x="2621280" y="707136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Composite Fabric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D59C23-2903-4823-BBB3-5C3463DE77FB}"/>
              </a:ext>
            </a:extLst>
          </p:cNvPr>
          <p:cNvSpPr/>
          <p:nvPr/>
        </p:nvSpPr>
        <p:spPr>
          <a:xfrm>
            <a:off x="4620768" y="707136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Sanding, CN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9A7FEC-1C81-4A0A-B624-9E918DA92BF1}"/>
              </a:ext>
            </a:extLst>
          </p:cNvPr>
          <p:cNvSpPr/>
          <p:nvPr/>
        </p:nvSpPr>
        <p:spPr>
          <a:xfrm>
            <a:off x="6620256" y="707136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Graphics and Clear Coa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44215B-3E3E-4905-BFDB-DA0B2F7F37F6}"/>
              </a:ext>
            </a:extLst>
          </p:cNvPr>
          <p:cNvSpPr/>
          <p:nvPr/>
        </p:nvSpPr>
        <p:spPr>
          <a:xfrm>
            <a:off x="6620256" y="1694688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Assembl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5E4E0D-51C8-40E6-9B02-AE169B968DD1}"/>
              </a:ext>
            </a:extLst>
          </p:cNvPr>
          <p:cNvSpPr/>
          <p:nvPr/>
        </p:nvSpPr>
        <p:spPr>
          <a:xfrm>
            <a:off x="6620256" y="2682240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Quality Chec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9CDA4E-CEBD-4ABF-A3BC-242464DB5384}"/>
              </a:ext>
            </a:extLst>
          </p:cNvPr>
          <p:cNvSpPr/>
          <p:nvPr/>
        </p:nvSpPr>
        <p:spPr>
          <a:xfrm>
            <a:off x="8638032" y="2682240"/>
            <a:ext cx="1475232" cy="5974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Finished Good Inventory and Ready to Ship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288F970-3BA0-4AF6-8D5B-C6F680AA5370}"/>
              </a:ext>
            </a:extLst>
          </p:cNvPr>
          <p:cNvSpPr/>
          <p:nvPr/>
        </p:nvSpPr>
        <p:spPr>
          <a:xfrm>
            <a:off x="2194560" y="1182624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C2495FD1-F2DD-4C2A-8FA8-38986F30DC7B}"/>
              </a:ext>
            </a:extLst>
          </p:cNvPr>
          <p:cNvSpPr/>
          <p:nvPr/>
        </p:nvSpPr>
        <p:spPr>
          <a:xfrm>
            <a:off x="4242816" y="963168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DF80DE75-ABCF-4D90-A4AF-A953C3899425}"/>
              </a:ext>
            </a:extLst>
          </p:cNvPr>
          <p:cNvSpPr/>
          <p:nvPr/>
        </p:nvSpPr>
        <p:spPr>
          <a:xfrm>
            <a:off x="6220968" y="963168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0613AD2-B762-43CA-9F14-BD55AEE94506}"/>
              </a:ext>
            </a:extLst>
          </p:cNvPr>
          <p:cNvSpPr/>
          <p:nvPr/>
        </p:nvSpPr>
        <p:spPr>
          <a:xfrm rot="5400000">
            <a:off x="7220712" y="1438656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C90D8DB3-2227-4B3F-9794-53E288A1284C}"/>
              </a:ext>
            </a:extLst>
          </p:cNvPr>
          <p:cNvSpPr/>
          <p:nvPr/>
        </p:nvSpPr>
        <p:spPr>
          <a:xfrm rot="5400000">
            <a:off x="7220712" y="2426208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96423CAC-A2C9-467F-88E3-08881A78A3E1}"/>
              </a:ext>
            </a:extLst>
          </p:cNvPr>
          <p:cNvSpPr/>
          <p:nvPr/>
        </p:nvSpPr>
        <p:spPr>
          <a:xfrm>
            <a:off x="8229600" y="2919984"/>
            <a:ext cx="274320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0B6CDF-6FCD-4E05-AED2-577627864A85}"/>
              </a:ext>
            </a:extLst>
          </p:cNvPr>
          <p:cNvSpPr txBox="1"/>
          <p:nvPr/>
        </p:nvSpPr>
        <p:spPr>
          <a:xfrm>
            <a:off x="1856232" y="122211"/>
            <a:ext cx="12252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25 Components needed for composite fabrication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C197B6-9D0A-43D1-8427-6C2FAC9E2104}"/>
              </a:ext>
            </a:extLst>
          </p:cNvPr>
          <p:cNvSpPr txBox="1"/>
          <p:nvPr/>
        </p:nvSpPr>
        <p:spPr>
          <a:xfrm>
            <a:off x="5745480" y="260710"/>
            <a:ext cx="1225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ion of a 4x8 Panel</a:t>
            </a:r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7B143A05-C06F-4C0D-AA23-B2172321CC13}"/>
              </a:ext>
            </a:extLst>
          </p:cNvPr>
          <p:cNvSpPr/>
          <p:nvPr/>
        </p:nvSpPr>
        <p:spPr>
          <a:xfrm rot="10800000" flipH="1">
            <a:off x="1694487" y="1458732"/>
            <a:ext cx="4800801" cy="626099"/>
          </a:xfrm>
          <a:prstGeom prst="bentArrow">
            <a:avLst>
              <a:gd name="adj1" fmla="val 25000"/>
              <a:gd name="adj2" fmla="val 5067"/>
              <a:gd name="adj3" fmla="val 17153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192628C-4C14-484C-839E-1E0842FA1959}"/>
              </a:ext>
            </a:extLst>
          </p:cNvPr>
          <p:cNvSpPr txBox="1"/>
          <p:nvPr/>
        </p:nvSpPr>
        <p:spPr>
          <a:xfrm>
            <a:off x="2828544" y="2286816"/>
            <a:ext cx="1225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17 Components needed for Assembl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4D542D-400C-49F0-B672-BA86FE2A2D2B}"/>
              </a:ext>
            </a:extLst>
          </p:cNvPr>
          <p:cNvSpPr txBox="1"/>
          <p:nvPr/>
        </p:nvSpPr>
        <p:spPr>
          <a:xfrm>
            <a:off x="8220456" y="1362456"/>
            <a:ext cx="1225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Creation of paddle hea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0601E1-0A0F-48D6-A3A7-259C61541A98}"/>
              </a:ext>
            </a:extLst>
          </p:cNvPr>
          <p:cNvSpPr txBox="1"/>
          <p:nvPr/>
        </p:nvSpPr>
        <p:spPr>
          <a:xfrm>
            <a:off x="4846320" y="2817983"/>
            <a:ext cx="1225296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w Hanging Fruit:</a:t>
            </a:r>
          </a:p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Serial /Warranty Number is added to each paddle effortlessly via QR sca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274A7C-88E9-47DD-BA6F-A0EC9EB49E8A}"/>
              </a:ext>
            </a:extLst>
          </p:cNvPr>
          <p:cNvSpPr txBox="1"/>
          <p:nvPr/>
        </p:nvSpPr>
        <p:spPr>
          <a:xfrm>
            <a:off x="8763000" y="3685922"/>
            <a:ext cx="1225296" cy="18928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w Hanging Fruit</a:t>
            </a:r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: Customer can scan QR code to auto-populate warranty form</a:t>
            </a:r>
          </a:p>
          <a:p>
            <a:endParaRPr lang="en-US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9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Future Facing Capability:</a:t>
            </a:r>
          </a:p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Customer Engagement via QR</a:t>
            </a:r>
          </a:p>
          <a:p>
            <a:endParaRPr lang="en-US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Reorder-point Shopify autom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39F5C30-73AE-420E-942A-FEBBA721DA99}"/>
              </a:ext>
            </a:extLst>
          </p:cNvPr>
          <p:cNvSpPr txBox="1"/>
          <p:nvPr/>
        </p:nvSpPr>
        <p:spPr>
          <a:xfrm>
            <a:off x="6220968" y="4092195"/>
            <a:ext cx="1225296" cy="7848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Low Hanging Fruit:</a:t>
            </a:r>
          </a:p>
          <a:p>
            <a:r>
              <a:rPr lang="en-US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Production Tracking and Data Validation via Warranty and Serial ID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EAFF838-9F9F-4FBB-AB21-1598E697E0EC}"/>
              </a:ext>
            </a:extLst>
          </p:cNvPr>
          <p:cNvCxnSpPr>
            <a:cxnSpLocks/>
            <a:stCxn id="28" idx="0"/>
          </p:cNvCxnSpPr>
          <p:nvPr/>
        </p:nvCxnSpPr>
        <p:spPr>
          <a:xfrm flipV="1">
            <a:off x="5458968" y="2296669"/>
            <a:ext cx="1161288" cy="521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E181E7-3E77-4B99-8B36-45EAEF6A70FC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6833616" y="3279649"/>
            <a:ext cx="521208" cy="8125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60B03C4-20C4-4DEC-97A3-F03BF3D1654B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9375648" y="3279650"/>
            <a:ext cx="0" cy="4062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34C3214F-ABF5-4082-A406-A3C9799449A4}"/>
              </a:ext>
            </a:extLst>
          </p:cNvPr>
          <p:cNvSpPr txBox="1"/>
          <p:nvPr/>
        </p:nvSpPr>
        <p:spPr>
          <a:xfrm>
            <a:off x="438912" y="3279648"/>
            <a:ext cx="36149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Example Paddle Manufacturing Process Improvement Project using cloud QR app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2F2EAE-51E2-49B5-A8C3-B83AFA066D39}"/>
              </a:ext>
            </a:extLst>
          </p:cNvPr>
          <p:cNvSpPr txBox="1"/>
          <p:nvPr/>
        </p:nvSpPr>
        <p:spPr>
          <a:xfrm>
            <a:off x="563880" y="4299944"/>
            <a:ext cx="1225296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Improvement Implemented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BC725C1-F85B-4C09-84C3-9C61800D328D}"/>
              </a:ext>
            </a:extLst>
          </p:cNvPr>
          <p:cNvSpPr txBox="1"/>
          <p:nvPr/>
        </p:nvSpPr>
        <p:spPr>
          <a:xfrm>
            <a:off x="435864" y="4874191"/>
            <a:ext cx="5023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QR Demo Link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: qr-app-test.azurewebsites.net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C8ACAD66-35D4-4770-AC8F-FEFFB60D2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523" y="5278861"/>
            <a:ext cx="1447005" cy="1301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84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5FA167-10CF-4FA8-AEBF-47BA38F69AF5}"/>
              </a:ext>
            </a:extLst>
          </p:cNvPr>
          <p:cNvCxnSpPr>
            <a:cxnSpLocks/>
          </p:cNvCxnSpPr>
          <p:nvPr/>
        </p:nvCxnSpPr>
        <p:spPr>
          <a:xfrm flipH="1">
            <a:off x="2917966" y="1554653"/>
            <a:ext cx="76133" cy="4901011"/>
          </a:xfrm>
          <a:prstGeom prst="line">
            <a:avLst/>
          </a:prstGeom>
          <a:ln w="381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41536B-2C60-411D-B296-57523D92CE98}"/>
              </a:ext>
            </a:extLst>
          </p:cNvPr>
          <p:cNvCxnSpPr>
            <a:cxnSpLocks/>
          </p:cNvCxnSpPr>
          <p:nvPr/>
        </p:nvCxnSpPr>
        <p:spPr>
          <a:xfrm flipH="1">
            <a:off x="5419211" y="1591927"/>
            <a:ext cx="4855" cy="4863737"/>
          </a:xfrm>
          <a:prstGeom prst="line">
            <a:avLst/>
          </a:prstGeom>
          <a:ln w="381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08699C4-FB6F-45D9-A589-CBB149F66A19}"/>
              </a:ext>
            </a:extLst>
          </p:cNvPr>
          <p:cNvCxnSpPr>
            <a:cxnSpLocks/>
          </p:cNvCxnSpPr>
          <p:nvPr/>
        </p:nvCxnSpPr>
        <p:spPr>
          <a:xfrm>
            <a:off x="8053823" y="1591926"/>
            <a:ext cx="71279" cy="4863738"/>
          </a:xfrm>
          <a:prstGeom prst="line">
            <a:avLst/>
          </a:prstGeom>
          <a:ln w="381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1F8EE7E-738A-457B-9F74-403F97FB2F64}"/>
              </a:ext>
            </a:extLst>
          </p:cNvPr>
          <p:cNvSpPr txBox="1"/>
          <p:nvPr/>
        </p:nvSpPr>
        <p:spPr>
          <a:xfrm>
            <a:off x="762302" y="2932872"/>
            <a:ext cx="1706580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b="1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eamless Technology Integr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0F64EF-5A6E-41E1-A9D0-22A580F1CB2F}"/>
              </a:ext>
            </a:extLst>
          </p:cNvPr>
          <p:cNvSpPr txBox="1"/>
          <p:nvPr/>
        </p:nvSpPr>
        <p:spPr>
          <a:xfrm>
            <a:off x="3358542" y="2932872"/>
            <a:ext cx="14275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b="1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Optimized Information Flo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56775A-BD54-4D56-8757-CDF886FF8532}"/>
              </a:ext>
            </a:extLst>
          </p:cNvPr>
          <p:cNvSpPr txBox="1"/>
          <p:nvPr/>
        </p:nvSpPr>
        <p:spPr>
          <a:xfrm>
            <a:off x="5788509" y="2932872"/>
            <a:ext cx="1276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b="1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ellar Customer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236A5A-CC82-40C0-96EB-3E88E65BDC5E}"/>
              </a:ext>
            </a:extLst>
          </p:cNvPr>
          <p:cNvSpPr txBox="1"/>
          <p:nvPr/>
        </p:nvSpPr>
        <p:spPr>
          <a:xfrm>
            <a:off x="8419387" y="2849146"/>
            <a:ext cx="1298699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b="1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Cost Savings on Quality Improvement</a:t>
            </a:r>
          </a:p>
        </p:txBody>
      </p:sp>
      <p:sp>
        <p:nvSpPr>
          <p:cNvPr id="35" name="POWER_USER_ID_ICONS_Handshake">
            <a:extLst>
              <a:ext uri="{FF2B5EF4-FFF2-40B4-BE49-F238E27FC236}">
                <a16:creationId xmlns:a16="http://schemas.microsoft.com/office/drawing/2014/main" id="{55DD8B29-26F6-498B-8884-BDF34E904FA8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6038291" y="1712583"/>
            <a:ext cx="1107380" cy="674951"/>
          </a:xfrm>
          <a:custGeom>
            <a:avLst/>
            <a:gdLst>
              <a:gd name="T0" fmla="*/ 962 w 1288"/>
              <a:gd name="T1" fmla="*/ 151 h 783"/>
              <a:gd name="T2" fmla="*/ 882 w 1288"/>
              <a:gd name="T3" fmla="*/ 163 h 783"/>
              <a:gd name="T4" fmla="*/ 679 w 1288"/>
              <a:gd name="T5" fmla="*/ 98 h 783"/>
              <a:gd name="T6" fmla="*/ 673 w 1288"/>
              <a:gd name="T7" fmla="*/ 95 h 783"/>
              <a:gd name="T8" fmla="*/ 535 w 1288"/>
              <a:gd name="T9" fmla="*/ 80 h 783"/>
              <a:gd name="T10" fmla="*/ 476 w 1288"/>
              <a:gd name="T11" fmla="*/ 101 h 783"/>
              <a:gd name="T12" fmla="*/ 129 w 1288"/>
              <a:gd name="T13" fmla="*/ 66 h 783"/>
              <a:gd name="T14" fmla="*/ 98 w 1288"/>
              <a:gd name="T15" fmla="*/ 58 h 783"/>
              <a:gd name="T16" fmla="*/ 42 w 1288"/>
              <a:gd name="T17" fmla="*/ 89 h 783"/>
              <a:gd name="T18" fmla="*/ 129 w 1288"/>
              <a:gd name="T19" fmla="*/ 465 h 783"/>
              <a:gd name="T20" fmla="*/ 280 w 1288"/>
              <a:gd name="T21" fmla="*/ 602 h 783"/>
              <a:gd name="T22" fmla="*/ 322 w 1288"/>
              <a:gd name="T23" fmla="*/ 604 h 783"/>
              <a:gd name="T24" fmla="*/ 353 w 1288"/>
              <a:gd name="T25" fmla="*/ 674 h 783"/>
              <a:gd name="T26" fmla="*/ 486 w 1288"/>
              <a:gd name="T27" fmla="*/ 705 h 783"/>
              <a:gd name="T28" fmla="*/ 585 w 1288"/>
              <a:gd name="T29" fmla="*/ 720 h 783"/>
              <a:gd name="T30" fmla="*/ 767 w 1288"/>
              <a:gd name="T31" fmla="*/ 749 h 783"/>
              <a:gd name="T32" fmla="*/ 816 w 1288"/>
              <a:gd name="T33" fmla="*/ 719 h 783"/>
              <a:gd name="T34" fmla="*/ 913 w 1288"/>
              <a:gd name="T35" fmla="*/ 648 h 783"/>
              <a:gd name="T36" fmla="*/ 1003 w 1288"/>
              <a:gd name="T37" fmla="*/ 572 h 783"/>
              <a:gd name="T38" fmla="*/ 1048 w 1288"/>
              <a:gd name="T39" fmla="*/ 444 h 783"/>
              <a:gd name="T40" fmla="*/ 740 w 1288"/>
              <a:gd name="T41" fmla="*/ 732 h 783"/>
              <a:gd name="T42" fmla="*/ 596 w 1288"/>
              <a:gd name="T43" fmla="*/ 690 h 783"/>
              <a:gd name="T44" fmla="*/ 728 w 1288"/>
              <a:gd name="T45" fmla="*/ 677 h 783"/>
              <a:gd name="T46" fmla="*/ 1003 w 1288"/>
              <a:gd name="T47" fmla="*/ 540 h 783"/>
              <a:gd name="T48" fmla="*/ 803 w 1288"/>
              <a:gd name="T49" fmla="*/ 423 h 783"/>
              <a:gd name="T50" fmla="*/ 729 w 1288"/>
              <a:gd name="T51" fmla="*/ 395 h 783"/>
              <a:gd name="T52" fmla="*/ 788 w 1288"/>
              <a:gd name="T53" fmla="*/ 450 h 783"/>
              <a:gd name="T54" fmla="*/ 913 w 1288"/>
              <a:gd name="T55" fmla="*/ 616 h 783"/>
              <a:gd name="T56" fmla="*/ 742 w 1288"/>
              <a:gd name="T57" fmla="*/ 517 h 783"/>
              <a:gd name="T58" fmla="*/ 670 w 1288"/>
              <a:gd name="T59" fmla="*/ 490 h 783"/>
              <a:gd name="T60" fmla="*/ 722 w 1288"/>
              <a:gd name="T61" fmla="*/ 541 h 783"/>
              <a:gd name="T62" fmla="*/ 816 w 1288"/>
              <a:gd name="T63" fmla="*/ 688 h 783"/>
              <a:gd name="T64" fmla="*/ 651 w 1288"/>
              <a:gd name="T65" fmla="*/ 592 h 783"/>
              <a:gd name="T66" fmla="*/ 611 w 1288"/>
              <a:gd name="T67" fmla="*/ 585 h 783"/>
              <a:gd name="T68" fmla="*/ 537 w 1288"/>
              <a:gd name="T69" fmla="*/ 576 h 783"/>
              <a:gd name="T70" fmla="*/ 444 w 1288"/>
              <a:gd name="T71" fmla="*/ 539 h 783"/>
              <a:gd name="T72" fmla="*/ 322 w 1288"/>
              <a:gd name="T73" fmla="*/ 481 h 783"/>
              <a:gd name="T74" fmla="*/ 222 w 1288"/>
              <a:gd name="T75" fmla="*/ 488 h 783"/>
              <a:gd name="T76" fmla="*/ 113 w 1288"/>
              <a:gd name="T77" fmla="*/ 92 h 783"/>
              <a:gd name="T78" fmla="*/ 375 w 1288"/>
              <a:gd name="T79" fmla="*/ 192 h 783"/>
              <a:gd name="T80" fmla="*/ 392 w 1288"/>
              <a:gd name="T81" fmla="*/ 257 h 783"/>
              <a:gd name="T82" fmla="*/ 502 w 1288"/>
              <a:gd name="T83" fmla="*/ 238 h 783"/>
              <a:gd name="T84" fmla="*/ 574 w 1288"/>
              <a:gd name="T85" fmla="*/ 209 h 783"/>
              <a:gd name="T86" fmla="*/ 671 w 1288"/>
              <a:gd name="T87" fmla="*/ 245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88" h="783">
                <a:moveTo>
                  <a:pt x="1120" y="72"/>
                </a:moveTo>
                <a:cubicBezTo>
                  <a:pt x="1058" y="106"/>
                  <a:pt x="988" y="144"/>
                  <a:pt x="962" y="151"/>
                </a:cubicBezTo>
                <a:lnTo>
                  <a:pt x="962" y="151"/>
                </a:lnTo>
                <a:lnTo>
                  <a:pt x="949" y="154"/>
                </a:lnTo>
                <a:cubicBezTo>
                  <a:pt x="949" y="155"/>
                  <a:pt x="917" y="162"/>
                  <a:pt x="888" y="162"/>
                </a:cubicBezTo>
                <a:cubicBezTo>
                  <a:pt x="886" y="163"/>
                  <a:pt x="884" y="163"/>
                  <a:pt x="882" y="163"/>
                </a:cubicBezTo>
                <a:cubicBezTo>
                  <a:pt x="849" y="163"/>
                  <a:pt x="806" y="157"/>
                  <a:pt x="798" y="153"/>
                </a:cubicBezTo>
                <a:cubicBezTo>
                  <a:pt x="785" y="147"/>
                  <a:pt x="778" y="144"/>
                  <a:pt x="768" y="139"/>
                </a:cubicBezTo>
                <a:cubicBezTo>
                  <a:pt x="719" y="116"/>
                  <a:pt x="679" y="98"/>
                  <a:pt x="679" y="98"/>
                </a:cubicBezTo>
                <a:cubicBezTo>
                  <a:pt x="677" y="97"/>
                  <a:pt x="675" y="96"/>
                  <a:pt x="674" y="96"/>
                </a:cubicBezTo>
                <a:lnTo>
                  <a:pt x="673" y="96"/>
                </a:lnTo>
                <a:cubicBezTo>
                  <a:pt x="673" y="96"/>
                  <a:pt x="673" y="95"/>
                  <a:pt x="673" y="95"/>
                </a:cubicBezTo>
                <a:lnTo>
                  <a:pt x="673" y="95"/>
                </a:lnTo>
                <a:cubicBezTo>
                  <a:pt x="666" y="93"/>
                  <a:pt x="659" y="91"/>
                  <a:pt x="653" y="91"/>
                </a:cubicBezTo>
                <a:lnTo>
                  <a:pt x="535" y="80"/>
                </a:lnTo>
                <a:cubicBezTo>
                  <a:pt x="518" y="79"/>
                  <a:pt x="501" y="83"/>
                  <a:pt x="487" y="93"/>
                </a:cubicBezTo>
                <a:cubicBezTo>
                  <a:pt x="486" y="93"/>
                  <a:pt x="486" y="93"/>
                  <a:pt x="485" y="94"/>
                </a:cubicBezTo>
                <a:cubicBezTo>
                  <a:pt x="482" y="96"/>
                  <a:pt x="479" y="98"/>
                  <a:pt x="476" y="101"/>
                </a:cubicBezTo>
                <a:cubicBezTo>
                  <a:pt x="464" y="112"/>
                  <a:pt x="448" y="126"/>
                  <a:pt x="432" y="140"/>
                </a:cubicBezTo>
                <a:cubicBezTo>
                  <a:pt x="394" y="147"/>
                  <a:pt x="358" y="161"/>
                  <a:pt x="323" y="174"/>
                </a:cubicBezTo>
                <a:cubicBezTo>
                  <a:pt x="290" y="157"/>
                  <a:pt x="198" y="107"/>
                  <a:pt x="129" y="66"/>
                </a:cubicBezTo>
                <a:lnTo>
                  <a:pt x="128" y="65"/>
                </a:lnTo>
                <a:lnTo>
                  <a:pt x="126" y="64"/>
                </a:lnTo>
                <a:cubicBezTo>
                  <a:pt x="117" y="60"/>
                  <a:pt x="107" y="58"/>
                  <a:pt x="98" y="58"/>
                </a:cubicBezTo>
                <a:lnTo>
                  <a:pt x="98" y="58"/>
                </a:lnTo>
                <a:lnTo>
                  <a:pt x="98" y="58"/>
                </a:lnTo>
                <a:cubicBezTo>
                  <a:pt x="83" y="58"/>
                  <a:pt x="61" y="63"/>
                  <a:pt x="42" y="89"/>
                </a:cubicBezTo>
                <a:cubicBezTo>
                  <a:pt x="16" y="126"/>
                  <a:pt x="7" y="188"/>
                  <a:pt x="4" y="235"/>
                </a:cubicBezTo>
                <a:cubicBezTo>
                  <a:pt x="0" y="280"/>
                  <a:pt x="2" y="337"/>
                  <a:pt x="11" y="366"/>
                </a:cubicBezTo>
                <a:cubicBezTo>
                  <a:pt x="26" y="407"/>
                  <a:pt x="76" y="435"/>
                  <a:pt x="129" y="465"/>
                </a:cubicBezTo>
                <a:cubicBezTo>
                  <a:pt x="156" y="480"/>
                  <a:pt x="184" y="496"/>
                  <a:pt x="199" y="510"/>
                </a:cubicBezTo>
                <a:cubicBezTo>
                  <a:pt x="213" y="526"/>
                  <a:pt x="229" y="540"/>
                  <a:pt x="247" y="553"/>
                </a:cubicBezTo>
                <a:cubicBezTo>
                  <a:pt x="246" y="574"/>
                  <a:pt x="259" y="594"/>
                  <a:pt x="280" y="602"/>
                </a:cubicBezTo>
                <a:cubicBezTo>
                  <a:pt x="292" y="606"/>
                  <a:pt x="305" y="605"/>
                  <a:pt x="316" y="600"/>
                </a:cubicBezTo>
                <a:cubicBezTo>
                  <a:pt x="316" y="600"/>
                  <a:pt x="316" y="601"/>
                  <a:pt x="316" y="601"/>
                </a:cubicBezTo>
                <a:lnTo>
                  <a:pt x="322" y="604"/>
                </a:lnTo>
                <a:lnTo>
                  <a:pt x="324" y="604"/>
                </a:lnTo>
                <a:lnTo>
                  <a:pt x="322" y="609"/>
                </a:lnTo>
                <a:cubicBezTo>
                  <a:pt x="313" y="636"/>
                  <a:pt x="327" y="665"/>
                  <a:pt x="353" y="674"/>
                </a:cubicBezTo>
                <a:cubicBezTo>
                  <a:pt x="371" y="680"/>
                  <a:pt x="390" y="675"/>
                  <a:pt x="403" y="663"/>
                </a:cubicBezTo>
                <a:cubicBezTo>
                  <a:pt x="401" y="686"/>
                  <a:pt x="414" y="707"/>
                  <a:pt x="436" y="715"/>
                </a:cubicBezTo>
                <a:cubicBezTo>
                  <a:pt x="454" y="721"/>
                  <a:pt x="473" y="717"/>
                  <a:pt x="486" y="705"/>
                </a:cubicBezTo>
                <a:cubicBezTo>
                  <a:pt x="484" y="727"/>
                  <a:pt x="497" y="749"/>
                  <a:pt x="520" y="757"/>
                </a:cubicBezTo>
                <a:cubicBezTo>
                  <a:pt x="546" y="766"/>
                  <a:pt x="574" y="751"/>
                  <a:pt x="583" y="725"/>
                </a:cubicBezTo>
                <a:lnTo>
                  <a:pt x="585" y="720"/>
                </a:lnTo>
                <a:lnTo>
                  <a:pt x="668" y="772"/>
                </a:lnTo>
                <a:cubicBezTo>
                  <a:pt x="680" y="779"/>
                  <a:pt x="693" y="783"/>
                  <a:pt x="706" y="783"/>
                </a:cubicBezTo>
                <a:cubicBezTo>
                  <a:pt x="731" y="783"/>
                  <a:pt x="754" y="770"/>
                  <a:pt x="767" y="749"/>
                </a:cubicBezTo>
                <a:cubicBezTo>
                  <a:pt x="775" y="736"/>
                  <a:pt x="778" y="722"/>
                  <a:pt x="778" y="708"/>
                </a:cubicBezTo>
                <a:lnTo>
                  <a:pt x="779" y="708"/>
                </a:lnTo>
                <a:cubicBezTo>
                  <a:pt x="790" y="716"/>
                  <a:pt x="803" y="719"/>
                  <a:pt x="816" y="719"/>
                </a:cubicBezTo>
                <a:cubicBezTo>
                  <a:pt x="841" y="719"/>
                  <a:pt x="864" y="707"/>
                  <a:pt x="877" y="686"/>
                </a:cubicBezTo>
                <a:cubicBezTo>
                  <a:pt x="885" y="672"/>
                  <a:pt x="889" y="657"/>
                  <a:pt x="888" y="643"/>
                </a:cubicBezTo>
                <a:cubicBezTo>
                  <a:pt x="896" y="646"/>
                  <a:pt x="904" y="648"/>
                  <a:pt x="913" y="648"/>
                </a:cubicBezTo>
                <a:cubicBezTo>
                  <a:pt x="938" y="648"/>
                  <a:pt x="961" y="635"/>
                  <a:pt x="974" y="614"/>
                </a:cubicBezTo>
                <a:cubicBezTo>
                  <a:pt x="983" y="600"/>
                  <a:pt x="986" y="584"/>
                  <a:pt x="984" y="569"/>
                </a:cubicBezTo>
                <a:cubicBezTo>
                  <a:pt x="990" y="571"/>
                  <a:pt x="997" y="572"/>
                  <a:pt x="1003" y="572"/>
                </a:cubicBezTo>
                <a:cubicBezTo>
                  <a:pt x="1028" y="572"/>
                  <a:pt x="1051" y="559"/>
                  <a:pt x="1064" y="538"/>
                </a:cubicBezTo>
                <a:cubicBezTo>
                  <a:pt x="1083" y="507"/>
                  <a:pt x="1076" y="467"/>
                  <a:pt x="1049" y="445"/>
                </a:cubicBezTo>
                <a:lnTo>
                  <a:pt x="1048" y="444"/>
                </a:lnTo>
                <a:cubicBezTo>
                  <a:pt x="1079" y="437"/>
                  <a:pt x="1179" y="408"/>
                  <a:pt x="1229" y="356"/>
                </a:cubicBezTo>
                <a:cubicBezTo>
                  <a:pt x="1288" y="294"/>
                  <a:pt x="1228" y="0"/>
                  <a:pt x="1120" y="72"/>
                </a:cubicBezTo>
                <a:close/>
                <a:moveTo>
                  <a:pt x="740" y="732"/>
                </a:moveTo>
                <a:cubicBezTo>
                  <a:pt x="733" y="745"/>
                  <a:pt x="720" y="751"/>
                  <a:pt x="706" y="751"/>
                </a:cubicBezTo>
                <a:cubicBezTo>
                  <a:pt x="699" y="751"/>
                  <a:pt x="691" y="749"/>
                  <a:pt x="685" y="745"/>
                </a:cubicBezTo>
                <a:lnTo>
                  <a:pt x="596" y="690"/>
                </a:lnTo>
                <a:lnTo>
                  <a:pt x="616" y="631"/>
                </a:lnTo>
                <a:cubicBezTo>
                  <a:pt x="618" y="624"/>
                  <a:pt x="619" y="616"/>
                  <a:pt x="618" y="608"/>
                </a:cubicBezTo>
                <a:lnTo>
                  <a:pt x="728" y="677"/>
                </a:lnTo>
                <a:cubicBezTo>
                  <a:pt x="746" y="689"/>
                  <a:pt x="752" y="713"/>
                  <a:pt x="740" y="732"/>
                </a:cubicBezTo>
                <a:close/>
                <a:moveTo>
                  <a:pt x="1037" y="521"/>
                </a:moveTo>
                <a:cubicBezTo>
                  <a:pt x="1030" y="534"/>
                  <a:pt x="1017" y="540"/>
                  <a:pt x="1003" y="540"/>
                </a:cubicBezTo>
                <a:cubicBezTo>
                  <a:pt x="996" y="540"/>
                  <a:pt x="988" y="538"/>
                  <a:pt x="982" y="534"/>
                </a:cubicBezTo>
                <a:lnTo>
                  <a:pt x="803" y="423"/>
                </a:lnTo>
                <a:lnTo>
                  <a:pt x="803" y="423"/>
                </a:lnTo>
                <a:lnTo>
                  <a:pt x="751" y="390"/>
                </a:lnTo>
                <a:cubicBezTo>
                  <a:pt x="748" y="388"/>
                  <a:pt x="745" y="388"/>
                  <a:pt x="743" y="388"/>
                </a:cubicBezTo>
                <a:cubicBezTo>
                  <a:pt x="737" y="388"/>
                  <a:pt x="732" y="390"/>
                  <a:pt x="729" y="395"/>
                </a:cubicBezTo>
                <a:cubicBezTo>
                  <a:pt x="725" y="402"/>
                  <a:pt x="727" y="412"/>
                  <a:pt x="734" y="416"/>
                </a:cubicBezTo>
                <a:lnTo>
                  <a:pt x="788" y="450"/>
                </a:lnTo>
                <a:cubicBezTo>
                  <a:pt x="788" y="450"/>
                  <a:pt x="788" y="450"/>
                  <a:pt x="788" y="450"/>
                </a:cubicBezTo>
                <a:lnTo>
                  <a:pt x="935" y="542"/>
                </a:lnTo>
                <a:cubicBezTo>
                  <a:pt x="954" y="554"/>
                  <a:pt x="959" y="578"/>
                  <a:pt x="947" y="597"/>
                </a:cubicBezTo>
                <a:cubicBezTo>
                  <a:pt x="940" y="610"/>
                  <a:pt x="927" y="616"/>
                  <a:pt x="913" y="616"/>
                </a:cubicBezTo>
                <a:cubicBezTo>
                  <a:pt x="906" y="616"/>
                  <a:pt x="898" y="614"/>
                  <a:pt x="892" y="610"/>
                </a:cubicBezTo>
                <a:lnTo>
                  <a:pt x="742" y="517"/>
                </a:lnTo>
                <a:cubicBezTo>
                  <a:pt x="742" y="517"/>
                  <a:pt x="742" y="517"/>
                  <a:pt x="742" y="517"/>
                </a:cubicBezTo>
                <a:lnTo>
                  <a:pt x="691" y="485"/>
                </a:lnTo>
                <a:cubicBezTo>
                  <a:pt x="689" y="484"/>
                  <a:pt x="686" y="483"/>
                  <a:pt x="683" y="483"/>
                </a:cubicBezTo>
                <a:cubicBezTo>
                  <a:pt x="678" y="483"/>
                  <a:pt x="673" y="485"/>
                  <a:pt x="670" y="490"/>
                </a:cubicBezTo>
                <a:cubicBezTo>
                  <a:pt x="665" y="497"/>
                  <a:pt x="668" y="507"/>
                  <a:pt x="675" y="512"/>
                </a:cubicBezTo>
                <a:lnTo>
                  <a:pt x="722" y="541"/>
                </a:lnTo>
                <a:cubicBezTo>
                  <a:pt x="722" y="541"/>
                  <a:pt x="722" y="541"/>
                  <a:pt x="722" y="541"/>
                </a:cubicBezTo>
                <a:lnTo>
                  <a:pt x="838" y="613"/>
                </a:lnTo>
                <a:cubicBezTo>
                  <a:pt x="857" y="625"/>
                  <a:pt x="863" y="650"/>
                  <a:pt x="851" y="669"/>
                </a:cubicBezTo>
                <a:cubicBezTo>
                  <a:pt x="843" y="681"/>
                  <a:pt x="830" y="688"/>
                  <a:pt x="816" y="688"/>
                </a:cubicBezTo>
                <a:cubicBezTo>
                  <a:pt x="809" y="688"/>
                  <a:pt x="802" y="686"/>
                  <a:pt x="795" y="682"/>
                </a:cubicBezTo>
                <a:lnTo>
                  <a:pt x="651" y="592"/>
                </a:lnTo>
                <a:cubicBezTo>
                  <a:pt x="651" y="592"/>
                  <a:pt x="651" y="592"/>
                  <a:pt x="651" y="592"/>
                </a:cubicBezTo>
                <a:lnTo>
                  <a:pt x="632" y="580"/>
                </a:lnTo>
                <a:cubicBezTo>
                  <a:pt x="629" y="579"/>
                  <a:pt x="627" y="578"/>
                  <a:pt x="624" y="578"/>
                </a:cubicBezTo>
                <a:cubicBezTo>
                  <a:pt x="619" y="578"/>
                  <a:pt x="613" y="580"/>
                  <a:pt x="611" y="585"/>
                </a:cubicBezTo>
                <a:cubicBezTo>
                  <a:pt x="610" y="586"/>
                  <a:pt x="610" y="586"/>
                  <a:pt x="610" y="587"/>
                </a:cubicBezTo>
                <a:cubicBezTo>
                  <a:pt x="604" y="578"/>
                  <a:pt x="595" y="571"/>
                  <a:pt x="585" y="567"/>
                </a:cubicBezTo>
                <a:cubicBezTo>
                  <a:pt x="568" y="561"/>
                  <a:pt x="550" y="565"/>
                  <a:pt x="537" y="576"/>
                </a:cubicBezTo>
                <a:lnTo>
                  <a:pt x="538" y="575"/>
                </a:lnTo>
                <a:cubicBezTo>
                  <a:pt x="547" y="548"/>
                  <a:pt x="533" y="520"/>
                  <a:pt x="507" y="511"/>
                </a:cubicBezTo>
                <a:cubicBezTo>
                  <a:pt x="482" y="502"/>
                  <a:pt x="454" y="515"/>
                  <a:pt x="444" y="539"/>
                </a:cubicBezTo>
                <a:cubicBezTo>
                  <a:pt x="440" y="523"/>
                  <a:pt x="429" y="509"/>
                  <a:pt x="412" y="503"/>
                </a:cubicBezTo>
                <a:cubicBezTo>
                  <a:pt x="391" y="496"/>
                  <a:pt x="368" y="504"/>
                  <a:pt x="355" y="521"/>
                </a:cubicBezTo>
                <a:cubicBezTo>
                  <a:pt x="353" y="503"/>
                  <a:pt x="340" y="487"/>
                  <a:pt x="322" y="481"/>
                </a:cubicBezTo>
                <a:cubicBezTo>
                  <a:pt x="296" y="472"/>
                  <a:pt x="267" y="486"/>
                  <a:pt x="258" y="512"/>
                </a:cubicBezTo>
                <a:lnTo>
                  <a:pt x="255" y="520"/>
                </a:lnTo>
                <a:cubicBezTo>
                  <a:pt x="243" y="510"/>
                  <a:pt x="232" y="500"/>
                  <a:pt x="222" y="488"/>
                </a:cubicBezTo>
                <a:cubicBezTo>
                  <a:pt x="177" y="445"/>
                  <a:pt x="58" y="406"/>
                  <a:pt x="41" y="355"/>
                </a:cubicBezTo>
                <a:cubicBezTo>
                  <a:pt x="24" y="308"/>
                  <a:pt x="30" y="89"/>
                  <a:pt x="98" y="89"/>
                </a:cubicBezTo>
                <a:cubicBezTo>
                  <a:pt x="103" y="89"/>
                  <a:pt x="108" y="90"/>
                  <a:pt x="113" y="92"/>
                </a:cubicBezTo>
                <a:cubicBezTo>
                  <a:pt x="198" y="143"/>
                  <a:pt x="321" y="208"/>
                  <a:pt x="321" y="208"/>
                </a:cubicBezTo>
                <a:cubicBezTo>
                  <a:pt x="341" y="200"/>
                  <a:pt x="362" y="192"/>
                  <a:pt x="382" y="185"/>
                </a:cubicBezTo>
                <a:cubicBezTo>
                  <a:pt x="380" y="188"/>
                  <a:pt x="377" y="190"/>
                  <a:pt x="375" y="192"/>
                </a:cubicBezTo>
                <a:cubicBezTo>
                  <a:pt x="365" y="201"/>
                  <a:pt x="360" y="213"/>
                  <a:pt x="362" y="226"/>
                </a:cubicBezTo>
                <a:cubicBezTo>
                  <a:pt x="364" y="237"/>
                  <a:pt x="371" y="248"/>
                  <a:pt x="379" y="252"/>
                </a:cubicBezTo>
                <a:cubicBezTo>
                  <a:pt x="382" y="253"/>
                  <a:pt x="387" y="255"/>
                  <a:pt x="392" y="257"/>
                </a:cubicBezTo>
                <a:cubicBezTo>
                  <a:pt x="394" y="258"/>
                  <a:pt x="396" y="258"/>
                  <a:pt x="398" y="259"/>
                </a:cubicBezTo>
                <a:cubicBezTo>
                  <a:pt x="408" y="261"/>
                  <a:pt x="417" y="263"/>
                  <a:pt x="427" y="263"/>
                </a:cubicBezTo>
                <a:cubicBezTo>
                  <a:pt x="453" y="263"/>
                  <a:pt x="478" y="254"/>
                  <a:pt x="502" y="238"/>
                </a:cubicBezTo>
                <a:cubicBezTo>
                  <a:pt x="505" y="236"/>
                  <a:pt x="525" y="222"/>
                  <a:pt x="531" y="217"/>
                </a:cubicBezTo>
                <a:cubicBezTo>
                  <a:pt x="536" y="214"/>
                  <a:pt x="546" y="208"/>
                  <a:pt x="566" y="208"/>
                </a:cubicBezTo>
                <a:cubicBezTo>
                  <a:pt x="568" y="208"/>
                  <a:pt x="571" y="208"/>
                  <a:pt x="574" y="209"/>
                </a:cubicBezTo>
                <a:cubicBezTo>
                  <a:pt x="586" y="209"/>
                  <a:pt x="604" y="213"/>
                  <a:pt x="617" y="216"/>
                </a:cubicBezTo>
                <a:cubicBezTo>
                  <a:pt x="629" y="224"/>
                  <a:pt x="641" y="231"/>
                  <a:pt x="653" y="239"/>
                </a:cubicBezTo>
                <a:cubicBezTo>
                  <a:pt x="659" y="239"/>
                  <a:pt x="666" y="241"/>
                  <a:pt x="671" y="245"/>
                </a:cubicBezTo>
                <a:lnTo>
                  <a:pt x="1025" y="466"/>
                </a:lnTo>
                <a:cubicBezTo>
                  <a:pt x="1044" y="478"/>
                  <a:pt x="1049" y="502"/>
                  <a:pt x="1037" y="5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US" sz="1400" kern="0" dirty="0">
              <a:solidFill>
                <a:sysClr val="windowText" lastClr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1" name="Title 2">
            <a:extLst>
              <a:ext uri="{FF2B5EF4-FFF2-40B4-BE49-F238E27FC236}">
                <a16:creationId xmlns:a16="http://schemas.microsoft.com/office/drawing/2014/main" id="{B3757690-5875-46A1-9D19-4999CEAA21C3}"/>
              </a:ext>
            </a:extLst>
          </p:cNvPr>
          <p:cNvSpPr txBox="1">
            <a:spLocks/>
          </p:cNvSpPr>
          <p:nvPr/>
        </p:nvSpPr>
        <p:spPr>
          <a:xfrm>
            <a:off x="553357" y="250017"/>
            <a:ext cx="3133725" cy="7432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Possible Key Benefits and System Capabilities</a:t>
            </a:r>
          </a:p>
        </p:txBody>
      </p:sp>
      <p:pic>
        <p:nvPicPr>
          <p:cNvPr id="46" name="Graphic 45" descr="Continuous Improvement with solid fill">
            <a:extLst>
              <a:ext uri="{FF2B5EF4-FFF2-40B4-BE49-F238E27FC236}">
                <a16:creationId xmlns:a16="http://schemas.microsoft.com/office/drawing/2014/main" id="{A204AA24-7359-4033-8989-ACE1D65748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85973" y="1427517"/>
            <a:ext cx="1275297" cy="1275297"/>
          </a:xfrm>
          <a:prstGeom prst="rect">
            <a:avLst/>
          </a:prstGeom>
        </p:spPr>
      </p:pic>
      <p:pic>
        <p:nvPicPr>
          <p:cNvPr id="54" name="Graphic 53" descr="Coins with solid fill">
            <a:extLst>
              <a:ext uri="{FF2B5EF4-FFF2-40B4-BE49-F238E27FC236}">
                <a16:creationId xmlns:a16="http://schemas.microsoft.com/office/drawing/2014/main" id="{582A80C2-5B75-42DC-AF3F-4DD0BE06BD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89406" y="1525248"/>
            <a:ext cx="1049619" cy="1049619"/>
          </a:xfrm>
          <a:prstGeom prst="rect">
            <a:avLst/>
          </a:prstGeom>
        </p:spPr>
      </p:pic>
      <p:pic>
        <p:nvPicPr>
          <p:cNvPr id="56" name="Graphic 55" descr="Qr Code with solid fill">
            <a:extLst>
              <a:ext uri="{FF2B5EF4-FFF2-40B4-BE49-F238E27FC236}">
                <a16:creationId xmlns:a16="http://schemas.microsoft.com/office/drawing/2014/main" id="{C8DD6F4E-D00A-4744-9D0A-785741348A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5963" y="1591927"/>
            <a:ext cx="1033434" cy="103343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29D6DDF-9C20-4788-A0B0-24539CBEB0AE}"/>
              </a:ext>
            </a:extLst>
          </p:cNvPr>
          <p:cNvSpPr txBox="1"/>
          <p:nvPr/>
        </p:nvSpPr>
        <p:spPr>
          <a:xfrm>
            <a:off x="762302" y="3795540"/>
            <a:ext cx="1983204" cy="246221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Best in class cloud database and hosting for $5 a month.</a:t>
            </a:r>
          </a:p>
          <a:p>
            <a:pPr defTabSz="685800"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calable to future processe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Auto-population on app from databases 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Live data link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hopify/order process integr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F4D82E-99BB-488A-BEEF-AB770AE6EDA3}"/>
              </a:ext>
            </a:extLst>
          </p:cNvPr>
          <p:cNvSpPr txBox="1"/>
          <p:nvPr/>
        </p:nvSpPr>
        <p:spPr>
          <a:xfrm>
            <a:off x="3309839" y="3832202"/>
            <a:ext cx="1983204" cy="20313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Industry Standard component and inventory modules</a:t>
            </a:r>
          </a:p>
          <a:p>
            <a:pPr defTabSz="685800">
              <a:defRPr/>
            </a:pPr>
            <a:endParaRPr lang="en-US" sz="1400" kern="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Easy onboarding of new bill of materials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Component and Inventory buffering based on deman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8D7EBDF-AEC1-4C4C-A2EE-E6B0C6B2E147}"/>
              </a:ext>
            </a:extLst>
          </p:cNvPr>
          <p:cNvSpPr txBox="1"/>
          <p:nvPr/>
        </p:nvSpPr>
        <p:spPr>
          <a:xfrm>
            <a:off x="5776334" y="3795540"/>
            <a:ext cx="1983204" cy="160043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QR customer engagement</a:t>
            </a:r>
          </a:p>
          <a:p>
            <a:pPr defTabSz="685800">
              <a:defRPr/>
            </a:pPr>
            <a:endParaRPr lang="en-US" sz="1400" kern="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QR warranty auto population 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latin typeface="Segoe UI Light" panose="020B0502040204020203" pitchFamily="34" charset="0"/>
                <a:cs typeface="Segoe UI Light" panose="020B0502040204020203" pitchFamily="34" charset="0"/>
              </a:rPr>
              <a:t>Paddle information via QR Scan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B152FF-CF3B-46DD-B0A8-0495B44835DB}"/>
              </a:ext>
            </a:extLst>
          </p:cNvPr>
          <p:cNvSpPr txBox="1"/>
          <p:nvPr/>
        </p:nvSpPr>
        <p:spPr>
          <a:xfrm>
            <a:off x="8419387" y="3726114"/>
            <a:ext cx="190082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nables Fulfillment and production at Scale</a:t>
            </a:r>
          </a:p>
          <a:p>
            <a:pPr defTabSz="685800">
              <a:defRPr/>
            </a:pPr>
            <a:endParaRPr lang="en-US" sz="1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Production Tracking and defect isolation tagging</a:t>
            </a: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endParaRPr lang="en-US" sz="1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 defTabSz="68580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rror-proofing and data validation</a:t>
            </a:r>
          </a:p>
        </p:txBody>
      </p:sp>
    </p:spTree>
    <p:extLst>
      <p:ext uri="{BB962C8B-B14F-4D97-AF65-F5344CB8AC3E}">
        <p14:creationId xmlns:p14="http://schemas.microsoft.com/office/powerpoint/2010/main" val="230148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greet_POWER_USER_SEPARATOR_ICONS_hand_POWER_USER_SEPARATOR_ICONS_integrate_POWER_USER_SEPARATOR_ICONS_meet_POWER_USER_SEPARATOR_ICONS_partenariat_POWER_USER_SEPARATOR_ICONS_peace_POWER_USER_SEPARATOR_ICONS_poignee-de-main_POWER_USER_SEPARATOR_ICONS_solidarity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5482D926DCA74C8B4332869483F533" ma:contentTypeVersion="14" ma:contentTypeDescription="Create a new document." ma:contentTypeScope="" ma:versionID="61c24262b4bef7b998859ec8c3b9c782">
  <xsd:schema xmlns:xsd="http://www.w3.org/2001/XMLSchema" xmlns:xs="http://www.w3.org/2001/XMLSchema" xmlns:p="http://schemas.microsoft.com/office/2006/metadata/properties" xmlns:ns1="http://schemas.microsoft.com/sharepoint/v3" xmlns:ns3="7acf4912-8b40-4b31-8c1f-d5ae88500830" xmlns:ns4="5d474f76-2236-4099-846f-7073b7cf9c64" targetNamespace="http://schemas.microsoft.com/office/2006/metadata/properties" ma:root="true" ma:fieldsID="76f764c0f3264b545556f7643801ef3c" ns1:_="" ns3:_="" ns4:_="">
    <xsd:import namespace="http://schemas.microsoft.com/sharepoint/v3"/>
    <xsd:import namespace="7acf4912-8b40-4b31-8c1f-d5ae88500830"/>
    <xsd:import namespace="5d474f76-2236-4099-846f-7073b7cf9c6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cf4912-8b40-4b31-8c1f-d5ae885008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474f76-2236-4099-846f-7073b7cf9c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59429D-2244-4608-BDDA-06392A7468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acf4912-8b40-4b31-8c1f-d5ae88500830"/>
    <ds:schemaRef ds:uri="5d474f76-2236-4099-846f-7073b7cf9c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362C793-1EC1-4A27-80A9-F33DAAD975FA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purl.org/dc/dcmitype/"/>
    <ds:schemaRef ds:uri="7acf4912-8b40-4b31-8c1f-d5ae88500830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5d474f76-2236-4099-846f-7073b7cf9c64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9D062C8-29F3-4D23-8260-FE10645C119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95</TotalTime>
  <Words>220</Words>
  <Application>Microsoft Office PowerPoint</Application>
  <PresentationFormat>Widescreen</PresentationFormat>
  <Paragraphs>48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Segoe UI Light</vt:lpstr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ao Zhang</dc:creator>
  <cp:lastModifiedBy>Jason Bian</cp:lastModifiedBy>
  <cp:revision>8</cp:revision>
  <dcterms:created xsi:type="dcterms:W3CDTF">2021-01-03T01:51:53Z</dcterms:created>
  <dcterms:modified xsi:type="dcterms:W3CDTF">2021-01-17T00:0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etDate">
    <vt:lpwstr>2021-01-03T01:51:53Z</vt:lpwstr>
  </property>
  <property fmtid="{D5CDD505-2E9C-101B-9397-08002B2CF9AE}" pid="4" name="MSIP_Label_f42aa342-8706-4288-bd11-ebb85995028c_Method">
    <vt:lpwstr>Standard</vt:lpwstr>
  </property>
  <property fmtid="{D5CDD505-2E9C-101B-9397-08002B2CF9AE}" pid="5" name="MSIP_Label_f42aa342-8706-4288-bd11-ebb85995028c_Name">
    <vt:lpwstr>Internal</vt:lpwstr>
  </property>
  <property fmtid="{D5CDD505-2E9C-101B-9397-08002B2CF9AE}" pid="6" name="MSIP_Label_f42aa342-8706-4288-bd11-ebb85995028c_SiteId">
    <vt:lpwstr>72f988bf-86f1-41af-91ab-2d7cd011db47</vt:lpwstr>
  </property>
  <property fmtid="{D5CDD505-2E9C-101B-9397-08002B2CF9AE}" pid="7" name="MSIP_Label_f42aa342-8706-4288-bd11-ebb85995028c_ActionId">
    <vt:lpwstr>6c1d7cef-dbb1-45c9-8c2a-4b9c3f66594a</vt:lpwstr>
  </property>
  <property fmtid="{D5CDD505-2E9C-101B-9397-08002B2CF9AE}" pid="8" name="MSIP_Label_f42aa342-8706-4288-bd11-ebb85995028c_ContentBits">
    <vt:lpwstr>0</vt:lpwstr>
  </property>
  <property fmtid="{D5CDD505-2E9C-101B-9397-08002B2CF9AE}" pid="9" name="ContentTypeId">
    <vt:lpwstr>0x0101005B5482D926DCA74C8B4332869483F533</vt:lpwstr>
  </property>
</Properties>
</file>